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463" r:id="rId3"/>
  </p:sldIdLst>
  <p:sldSz cx="8961438" cy="6721475"/>
  <p:notesSz cx="6742113" cy="987266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heory recap" id="{B3C42C0A-1094-4156-AF3C-9D2DAEA816EC}">
          <p14:sldIdLst>
            <p14:sldId id="4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09" userDrawn="1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51" userDrawn="1">
          <p15:clr>
            <a:srgbClr val="A4A3A4"/>
          </p15:clr>
        </p15:guide>
        <p15:guide id="2" pos="2904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354B0"/>
    <a:srgbClr val="0563BB"/>
    <a:srgbClr val="FFC9C9"/>
    <a:srgbClr val="FFA3A3"/>
    <a:srgbClr val="C6E6A2"/>
    <a:srgbClr val="0049A6"/>
    <a:srgbClr val="0457B5"/>
    <a:srgbClr val="10A2ED"/>
    <a:srgbClr val="087CE3"/>
    <a:srgbClr val="055C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45" autoAdjust="0"/>
    <p:restoredTop sz="96699" autoAdjust="0"/>
  </p:normalViewPr>
  <p:slideViewPr>
    <p:cSldViewPr snapToObjects="1">
      <p:cViewPr>
        <p:scale>
          <a:sx n="70" d="100"/>
          <a:sy n="70" d="100"/>
        </p:scale>
        <p:origin x="568" y="-4"/>
      </p:cViewPr>
      <p:guideLst>
        <p:guide orient="horz" pos="1109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85" d="100"/>
          <a:sy n="85" d="100"/>
        </p:scale>
        <p:origin x="2862" y="102"/>
      </p:cViewPr>
      <p:guideLst>
        <p:guide orient="horz" pos="4651"/>
        <p:guide pos="2904"/>
        <p:guide orient="horz" pos="3110"/>
        <p:guide pos="2124"/>
      </p:guideLst>
    </p:cSldViewPr>
  </p:notesViewPr>
  <p:gridSpacing cx="228600" cy="2286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7838" y="619125"/>
            <a:ext cx="5789612" cy="4343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5972" y="5304975"/>
            <a:ext cx="5745397" cy="12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6800" y="9509705"/>
            <a:ext cx="534861" cy="168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1597" y="110140"/>
            <a:ext cx="65" cy="122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9.jp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8/01/2018 11:0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18/01/2018 11:07 Romance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 17/11/2017 19:22 Romance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 hidden="1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056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25" r="15" b="1584"/>
          <a:stretch/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8/01/2018 11:0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996379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543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794" b="20794"/>
          <a:stretch/>
        </p:blipFill>
        <p:spPr>
          <a:xfrm flipH="1"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8/01/2018 11:0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7703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8708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9416" b="12233"/>
          <a:stretch/>
        </p:blipFill>
        <p:spPr>
          <a:xfrm flipH="1"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8/01/2018 11:07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 17/11/2017 19:22 Romance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288293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763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420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377843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26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Without Numb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527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123497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489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57855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1.vml"/><Relationship Id="rId15" Type="http://schemas.openxmlformats.org/officeDocument/2006/relationships/tags" Target="../tags/tag41.xml"/><Relationship Id="rId23" Type="http://schemas.openxmlformats.org/officeDocument/2006/relationships/oleObject" Target="../embeddings/oleObject11.bin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4" Type="http://schemas.openxmlformats.org/officeDocument/2006/relationships/theme" Target="../theme/theme2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576645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86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893720" y="1940591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8/01/2018 11:07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17150" y="4114417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 17/11/2017 19:22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5" r:id="rId2"/>
    <p:sldLayoutId id="2147483677" r:id="rId3"/>
    <p:sldLayoutId id="2147483678" r:id="rId4"/>
    <p:sldLayoutId id="2147483669" r:id="rId5"/>
    <p:sldLayoutId id="2147483680" r:id="rId6"/>
    <p:sldLayoutId id="2147483670" r:id="rId7"/>
    <p:sldLayoutId id="2147483681" r:id="rId8"/>
    <p:sldLayoutId id="2147483679" r:id="rId9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6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x-none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x-none" dirty="0"/>
              <a:t>Click to edit Master text styles</a:t>
            </a:r>
          </a:p>
          <a:p>
            <a:pPr lvl="1" latinLnBrk="0"/>
            <a:r>
              <a:rPr lang="x-none" dirty="0"/>
              <a:t>Second level</a:t>
            </a:r>
          </a:p>
          <a:p>
            <a:pPr lvl="2" latinLnBrk="0"/>
            <a:r>
              <a:rPr lang="x-none" dirty="0"/>
              <a:t>Third level</a:t>
            </a:r>
          </a:p>
          <a:p>
            <a:pPr lvl="3" latinLnBrk="0"/>
            <a:r>
              <a:rPr lang="x-none" dirty="0"/>
              <a:t>Fourth level</a:t>
            </a:r>
          </a:p>
          <a:p>
            <a:pPr lvl="4" latinLnBrk="0"/>
            <a:r>
              <a:rPr lang="x-none" dirty="0"/>
              <a:t>Fifth level</a:t>
            </a:r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893720" y="1940591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8/01/2018 11:07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8017150" y="4114417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 17/11/2017 19:22 Romance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63755" cy="997467"/>
            <a:chOff x="7835905" y="279400"/>
            <a:chExt cx="763755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71563" cy="730251"/>
            <a:chOff x="7540629" y="279400"/>
            <a:chExt cx="1071563" cy="730251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830430" cy="1306516"/>
            <a:chOff x="7769225" y="250825"/>
            <a:chExt cx="830430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image" Target="../media/image8.emf"/><Relationship Id="rId1" Type="http://schemas.openxmlformats.org/officeDocument/2006/relationships/vmlDrawing" Target="../drawings/vmlDrawing13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7" name="Object 156" hidden="1">
            <a:extLst>
              <a:ext uri="{FF2B5EF4-FFF2-40B4-BE49-F238E27FC236}">
                <a16:creationId xmlns:a16="http://schemas.microsoft.com/office/drawing/2014/main" id="{C09391E5-99CD-4647-9B15-632ACC7AC7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297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5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F93EAC9A-B4F7-41D7-826C-EA5ED7C077DC}"/>
              </a:ext>
            </a:extLst>
          </p:cNvPr>
          <p:cNvSpPr/>
          <p:nvPr/>
        </p:nvSpPr>
        <p:spPr>
          <a:xfrm>
            <a:off x="3018650" y="4093112"/>
            <a:ext cx="214310" cy="20581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3E4FD2-4431-41E4-B626-2A2D5DC9C5AC}"/>
              </a:ext>
            </a:extLst>
          </p:cNvPr>
          <p:cNvSpPr txBox="1">
            <a:spLocks/>
          </p:cNvSpPr>
          <p:nvPr/>
        </p:nvSpPr>
        <p:spPr>
          <a:xfrm>
            <a:off x="2730987" y="4307948"/>
            <a:ext cx="789636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/>
              <a:t>Neural network layer</a:t>
            </a:r>
            <a:endParaRPr lang="en-US" baseline="-25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549D43-2713-470A-9E0A-EB70D94A60E1}"/>
              </a:ext>
            </a:extLst>
          </p:cNvPr>
          <p:cNvSpPr txBox="1">
            <a:spLocks/>
          </p:cNvSpPr>
          <p:nvPr/>
        </p:nvSpPr>
        <p:spPr>
          <a:xfrm>
            <a:off x="3661786" y="4307948"/>
            <a:ext cx="63449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/>
              <a:t>Concatenat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A307D8B-CF8D-4C91-9055-F59F31D5D3D5}"/>
              </a:ext>
            </a:extLst>
          </p:cNvPr>
          <p:cNvGrpSpPr/>
          <p:nvPr/>
        </p:nvGrpSpPr>
        <p:grpSpPr>
          <a:xfrm>
            <a:off x="3834918" y="4080390"/>
            <a:ext cx="296492" cy="231258"/>
            <a:chOff x="1821180" y="5486400"/>
            <a:chExt cx="426720" cy="173104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2688453-BE14-4B08-906C-558532A8441B}"/>
                </a:ext>
              </a:extLst>
            </p:cNvPr>
            <p:cNvSpPr/>
            <p:nvPr/>
          </p:nvSpPr>
          <p:spPr>
            <a:xfrm>
              <a:off x="1821180" y="5486400"/>
              <a:ext cx="426720" cy="86552"/>
            </a:xfrm>
            <a:custGeom>
              <a:avLst/>
              <a:gdLst>
                <a:gd name="connsiteX0" fmla="*/ 0 w 426720"/>
                <a:gd name="connsiteY0" fmla="*/ 0 h 86552"/>
                <a:gd name="connsiteX1" fmla="*/ 198120 w 426720"/>
                <a:gd name="connsiteY1" fmla="*/ 76200 h 86552"/>
                <a:gd name="connsiteX2" fmla="*/ 426720 w 426720"/>
                <a:gd name="connsiteY2" fmla="*/ 83820 h 86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6720" h="86552">
                  <a:moveTo>
                    <a:pt x="0" y="0"/>
                  </a:moveTo>
                  <a:cubicBezTo>
                    <a:pt x="63500" y="31115"/>
                    <a:pt x="127000" y="62230"/>
                    <a:pt x="198120" y="76200"/>
                  </a:cubicBezTo>
                  <a:cubicBezTo>
                    <a:pt x="269240" y="90170"/>
                    <a:pt x="347980" y="86995"/>
                    <a:pt x="426720" y="83820"/>
                  </a:cubicBezTo>
                </a:path>
              </a:pathLst>
            </a:custGeom>
            <a:noFill/>
            <a:ln w="19050">
              <a:solidFill>
                <a:schemeClr val="accent6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A0558BE-F57D-4CC1-B1C9-256981A9A5CE}"/>
                </a:ext>
              </a:extLst>
            </p:cNvPr>
            <p:cNvSpPr/>
            <p:nvPr/>
          </p:nvSpPr>
          <p:spPr>
            <a:xfrm flipV="1">
              <a:off x="1821180" y="5572952"/>
              <a:ext cx="426720" cy="86552"/>
            </a:xfrm>
            <a:custGeom>
              <a:avLst/>
              <a:gdLst>
                <a:gd name="connsiteX0" fmla="*/ 0 w 426720"/>
                <a:gd name="connsiteY0" fmla="*/ 0 h 86552"/>
                <a:gd name="connsiteX1" fmla="*/ 198120 w 426720"/>
                <a:gd name="connsiteY1" fmla="*/ 76200 h 86552"/>
                <a:gd name="connsiteX2" fmla="*/ 426720 w 426720"/>
                <a:gd name="connsiteY2" fmla="*/ 83820 h 86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6720" h="86552">
                  <a:moveTo>
                    <a:pt x="0" y="0"/>
                  </a:moveTo>
                  <a:cubicBezTo>
                    <a:pt x="63500" y="31115"/>
                    <a:pt x="127000" y="62230"/>
                    <a:pt x="198120" y="76200"/>
                  </a:cubicBezTo>
                  <a:cubicBezTo>
                    <a:pt x="269240" y="90170"/>
                    <a:pt x="347980" y="86995"/>
                    <a:pt x="426720" y="83820"/>
                  </a:cubicBezTo>
                </a:path>
              </a:pathLst>
            </a:custGeom>
            <a:noFill/>
            <a:ln w="19050">
              <a:solidFill>
                <a:schemeClr val="accent6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0E2DF641-DCBE-4C60-B1BE-4BFE35C8AAAD}"/>
              </a:ext>
            </a:extLst>
          </p:cNvPr>
          <p:cNvSpPr txBox="1">
            <a:spLocks/>
          </p:cNvSpPr>
          <p:nvPr/>
        </p:nvSpPr>
        <p:spPr>
          <a:xfrm>
            <a:off x="4635162" y="4307948"/>
            <a:ext cx="752748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/>
              <a:t>Element wise operation</a:t>
            </a:r>
          </a:p>
        </p:txBody>
      </p:sp>
      <p:sp>
        <p:nvSpPr>
          <p:cNvPr id="26" name="Marvintitletrackercircle">
            <a:extLst>
              <a:ext uri="{FF2B5EF4-FFF2-40B4-BE49-F238E27FC236}">
                <a16:creationId xmlns:a16="http://schemas.microsoft.com/office/drawing/2014/main" id="{47566FDC-CC46-48BD-A6B6-45D5417068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863432" y="4075008"/>
            <a:ext cx="242022" cy="242022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endParaRPr lang="en-US" sz="1400" b="1" baseline="-25000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3CC0B5-0041-4BDD-9796-D524D08CCBB1}"/>
              </a:ext>
            </a:extLst>
          </p:cNvPr>
          <p:cNvSpPr txBox="1">
            <a:spLocks/>
          </p:cNvSpPr>
          <p:nvPr/>
        </p:nvSpPr>
        <p:spPr>
          <a:xfrm>
            <a:off x="5613516" y="4307948"/>
            <a:ext cx="47696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/>
              <a:t>Copy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255962D-15F4-457D-9282-335AB932AC3C}"/>
              </a:ext>
            </a:extLst>
          </p:cNvPr>
          <p:cNvGrpSpPr/>
          <p:nvPr/>
        </p:nvGrpSpPr>
        <p:grpSpPr>
          <a:xfrm>
            <a:off x="5692419" y="4065728"/>
            <a:ext cx="319158" cy="260613"/>
            <a:chOff x="4292958" y="5387333"/>
            <a:chExt cx="342542" cy="22289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4570467F-8C10-4A52-AC26-A5D45F2CA8B5}"/>
                </a:ext>
              </a:extLst>
            </p:cNvPr>
            <p:cNvCxnSpPr/>
            <p:nvPr/>
          </p:nvCxnSpPr>
          <p:spPr>
            <a:xfrm flipV="1">
              <a:off x="4300078" y="5387333"/>
              <a:ext cx="323886" cy="137008"/>
            </a:xfrm>
            <a:prstGeom prst="line">
              <a:avLst/>
            </a:prstGeom>
            <a:noFill/>
            <a:ln w="19050">
              <a:solidFill>
                <a:schemeClr val="accent6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D76866A-724D-4AD9-A521-1A8684C1F051}"/>
                </a:ext>
              </a:extLst>
            </p:cNvPr>
            <p:cNvCxnSpPr>
              <a:cxnSpLocks/>
            </p:cNvCxnSpPr>
            <p:nvPr/>
          </p:nvCxnSpPr>
          <p:spPr>
            <a:xfrm>
              <a:off x="4292958" y="5524349"/>
              <a:ext cx="342542" cy="85876"/>
            </a:xfrm>
            <a:prstGeom prst="line">
              <a:avLst/>
            </a:prstGeom>
            <a:noFill/>
            <a:ln w="19050">
              <a:solidFill>
                <a:schemeClr val="accent6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D35E11C-2C6C-44C1-AE43-82ED3387852B}"/>
              </a:ext>
            </a:extLst>
          </p:cNvPr>
          <p:cNvSpPr txBox="1">
            <a:spLocks/>
          </p:cNvSpPr>
          <p:nvPr/>
        </p:nvSpPr>
        <p:spPr>
          <a:xfrm>
            <a:off x="817580" y="3400355"/>
            <a:ext cx="93399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dirty="0"/>
              <a:t>Short-term state</a:t>
            </a:r>
            <a:endParaRPr lang="en-US" baseline="-250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4C10A6E-F9C8-4D44-B89A-800E42629838}"/>
              </a:ext>
            </a:extLst>
          </p:cNvPr>
          <p:cNvSpPr txBox="1">
            <a:spLocks/>
          </p:cNvSpPr>
          <p:nvPr/>
        </p:nvSpPr>
        <p:spPr>
          <a:xfrm>
            <a:off x="2032432" y="1529139"/>
            <a:ext cx="329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C</a:t>
            </a:r>
            <a:r>
              <a:rPr lang="en-US" baseline="-25000" dirty="0"/>
              <a:t>t-1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474E0B6-3823-4B50-852C-93C755BF29A5}"/>
              </a:ext>
            </a:extLst>
          </p:cNvPr>
          <p:cNvCxnSpPr>
            <a:cxnSpLocks/>
          </p:cNvCxnSpPr>
          <p:nvPr/>
        </p:nvCxnSpPr>
        <p:spPr>
          <a:xfrm flipV="1">
            <a:off x="3195195" y="1784108"/>
            <a:ext cx="0" cy="1295402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915E1F4-92D6-4ED2-8B5B-C89E308A5EC9}"/>
              </a:ext>
            </a:extLst>
          </p:cNvPr>
          <p:cNvCxnSpPr>
            <a:cxnSpLocks/>
          </p:cNvCxnSpPr>
          <p:nvPr/>
        </p:nvCxnSpPr>
        <p:spPr>
          <a:xfrm flipV="1">
            <a:off x="4219285" y="1780208"/>
            <a:ext cx="0" cy="1299302"/>
          </a:xfrm>
          <a:prstGeom prst="line">
            <a:avLst/>
          </a:prstGeom>
          <a:ln w="19050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60">
            <a:extLst>
              <a:ext uri="{FF2B5EF4-FFF2-40B4-BE49-F238E27FC236}">
                <a16:creationId xmlns:a16="http://schemas.microsoft.com/office/drawing/2014/main" id="{EE68EFDC-4CCE-40B4-9C79-1F2B045C4194}"/>
              </a:ext>
            </a:extLst>
          </p:cNvPr>
          <p:cNvCxnSpPr>
            <a:cxnSpLocks/>
            <a:endCxn id="106" idx="2"/>
          </p:cNvCxnSpPr>
          <p:nvPr/>
        </p:nvCxnSpPr>
        <p:spPr>
          <a:xfrm rot="5400000" flipH="1" flipV="1">
            <a:off x="4724049" y="2710046"/>
            <a:ext cx="378045" cy="360886"/>
          </a:xfrm>
          <a:prstGeom prst="bentConnector2">
            <a:avLst/>
          </a:prstGeom>
          <a:ln w="19050">
            <a:solidFill>
              <a:schemeClr val="accent6"/>
            </a:solidFill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0EC1442B-268C-4524-9E49-39F3792F6BB7}"/>
              </a:ext>
            </a:extLst>
          </p:cNvPr>
          <p:cNvCxnSpPr>
            <a:cxnSpLocks/>
            <a:stCxn id="106" idx="4"/>
          </p:cNvCxnSpPr>
          <p:nvPr/>
        </p:nvCxnSpPr>
        <p:spPr>
          <a:xfrm rot="16200000" flipH="1">
            <a:off x="5349515" y="2754431"/>
            <a:ext cx="782528" cy="983634"/>
          </a:xfrm>
          <a:prstGeom prst="bentConnector2">
            <a:avLst/>
          </a:prstGeom>
          <a:ln w="19050">
            <a:solidFill>
              <a:schemeClr val="accent6"/>
            </a:solidFill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3437D93-14B5-4997-B3D6-8F2EC822DA0A}"/>
              </a:ext>
            </a:extLst>
          </p:cNvPr>
          <p:cNvCxnSpPr>
            <a:cxnSpLocks/>
          </p:cNvCxnSpPr>
          <p:nvPr/>
        </p:nvCxnSpPr>
        <p:spPr>
          <a:xfrm flipV="1">
            <a:off x="5296131" y="2692851"/>
            <a:ext cx="955401" cy="94362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DFF5FB21-F2C2-41BA-A356-0234C20B4438}"/>
              </a:ext>
            </a:extLst>
          </p:cNvPr>
          <p:cNvSpPr txBox="1">
            <a:spLocks/>
          </p:cNvSpPr>
          <p:nvPr/>
        </p:nvSpPr>
        <p:spPr>
          <a:xfrm>
            <a:off x="6294477" y="3491895"/>
            <a:ext cx="21277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h</a:t>
            </a:r>
            <a:r>
              <a:rPr lang="en-US" baseline="-25000" dirty="0"/>
              <a:t>t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C83D7AF-B395-498E-8EB5-D476ED05582D}"/>
              </a:ext>
            </a:extLst>
          </p:cNvPr>
          <p:cNvCxnSpPr>
            <a:cxnSpLocks/>
            <a:stCxn id="106" idx="0"/>
          </p:cNvCxnSpPr>
          <p:nvPr/>
        </p:nvCxnSpPr>
        <p:spPr>
          <a:xfrm flipH="1" flipV="1">
            <a:off x="5244722" y="1654675"/>
            <a:ext cx="4240" cy="893272"/>
          </a:xfrm>
          <a:prstGeom prst="line">
            <a:avLst/>
          </a:prstGeom>
          <a:ln w="19050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55F91B80-631A-483F-81B9-594A7031F303}"/>
              </a:ext>
            </a:extLst>
          </p:cNvPr>
          <p:cNvSpPr/>
          <p:nvPr/>
        </p:nvSpPr>
        <p:spPr>
          <a:xfrm>
            <a:off x="5086019" y="2027273"/>
            <a:ext cx="310896" cy="30703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dirty="0">
                <a:solidFill>
                  <a:schemeClr val="tx1"/>
                </a:solidFill>
              </a:rPr>
              <a:t>τ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419E5B2-DD54-4E7A-AE9F-BF6E05FF254A}"/>
              </a:ext>
            </a:extLst>
          </p:cNvPr>
          <p:cNvSpPr txBox="1">
            <a:spLocks/>
          </p:cNvSpPr>
          <p:nvPr/>
        </p:nvSpPr>
        <p:spPr>
          <a:xfrm>
            <a:off x="3249150" y="2476743"/>
            <a:ext cx="175850" cy="1780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f</a:t>
            </a:r>
            <a:r>
              <a:rPr lang="en-US" baseline="-25000" dirty="0"/>
              <a:t>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551E2A3-A483-4CBA-9E0D-04612319AD4C}"/>
              </a:ext>
            </a:extLst>
          </p:cNvPr>
          <p:cNvSpPr txBox="1">
            <a:spLocks/>
          </p:cNvSpPr>
          <p:nvPr/>
        </p:nvSpPr>
        <p:spPr>
          <a:xfrm>
            <a:off x="3774752" y="2476743"/>
            <a:ext cx="175850" cy="1780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i</a:t>
            </a:r>
            <a:r>
              <a:rPr lang="en-US" baseline="-25000" dirty="0"/>
              <a:t>t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5E5BB558-4796-4334-954C-B4AA925DED34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874606" y="7999301"/>
            <a:ext cx="372600" cy="393910"/>
          </a:xfrm>
          <a:prstGeom prst="bentConnector2">
            <a:avLst/>
          </a:prstGeom>
          <a:solidFill>
            <a:schemeClr val="tx1"/>
          </a:solidFill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D0AC12A5-7200-400A-9DE7-AC7C68D50F15}"/>
              </a:ext>
            </a:extLst>
          </p:cNvPr>
          <p:cNvSpPr txBox="1">
            <a:spLocks/>
          </p:cNvSpPr>
          <p:nvPr/>
        </p:nvSpPr>
        <p:spPr>
          <a:xfrm>
            <a:off x="2032432" y="3508077"/>
            <a:ext cx="329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h</a:t>
            </a:r>
            <a:r>
              <a:rPr lang="en-US" baseline="-25000" dirty="0"/>
              <a:t>t-1</a:t>
            </a:r>
          </a:p>
        </p:txBody>
      </p:sp>
      <p:cxnSp>
        <p:nvCxnSpPr>
          <p:cNvPr id="59" name="Straight Connector 86">
            <a:extLst>
              <a:ext uri="{FF2B5EF4-FFF2-40B4-BE49-F238E27FC236}">
                <a16:creationId xmlns:a16="http://schemas.microsoft.com/office/drawing/2014/main" id="{E95B2A30-2776-477F-9425-20D32CB400E8}"/>
              </a:ext>
            </a:extLst>
          </p:cNvPr>
          <p:cNvCxnSpPr>
            <a:cxnSpLocks/>
          </p:cNvCxnSpPr>
          <p:nvPr/>
        </p:nvCxnSpPr>
        <p:spPr>
          <a:xfrm flipV="1">
            <a:off x="2364977" y="3386546"/>
            <a:ext cx="2367652" cy="254677"/>
          </a:xfrm>
          <a:prstGeom prst="bentConnector2">
            <a:avLst/>
          </a:prstGeom>
          <a:ln w="19050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367FDDB-3DF6-467F-81A5-CAB7B65B3F3D}"/>
              </a:ext>
            </a:extLst>
          </p:cNvPr>
          <p:cNvCxnSpPr/>
          <p:nvPr/>
        </p:nvCxnSpPr>
        <p:spPr>
          <a:xfrm>
            <a:off x="3195195" y="3386546"/>
            <a:ext cx="0" cy="250964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3D3C2AE-7358-4EF7-B3E0-2EA58CDE757B}"/>
              </a:ext>
            </a:extLst>
          </p:cNvPr>
          <p:cNvCxnSpPr>
            <a:cxnSpLocks/>
          </p:cNvCxnSpPr>
          <p:nvPr/>
        </p:nvCxnSpPr>
        <p:spPr>
          <a:xfrm>
            <a:off x="3705942" y="3386546"/>
            <a:ext cx="0" cy="250964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3772ECB-2FED-406F-A561-4EFEA7EB545D}"/>
              </a:ext>
            </a:extLst>
          </p:cNvPr>
          <p:cNvCxnSpPr>
            <a:cxnSpLocks/>
          </p:cNvCxnSpPr>
          <p:nvPr/>
        </p:nvCxnSpPr>
        <p:spPr>
          <a:xfrm>
            <a:off x="4219285" y="3386546"/>
            <a:ext cx="0" cy="250964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9002C3A2-3960-457A-8995-17F0D5960E90}"/>
              </a:ext>
            </a:extLst>
          </p:cNvPr>
          <p:cNvSpPr/>
          <p:nvPr/>
        </p:nvSpPr>
        <p:spPr>
          <a:xfrm rot="16200000">
            <a:off x="3148730" y="2357566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68056BE5-8636-427A-9A19-19D282FC89AF}"/>
              </a:ext>
            </a:extLst>
          </p:cNvPr>
          <p:cNvSpPr/>
          <p:nvPr/>
        </p:nvSpPr>
        <p:spPr>
          <a:xfrm rot="16200000" flipH="1" flipV="1">
            <a:off x="5202498" y="2383599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1C220A39-8E0E-467D-A43C-FFE579B80C54}"/>
              </a:ext>
            </a:extLst>
          </p:cNvPr>
          <p:cNvSpPr/>
          <p:nvPr/>
        </p:nvSpPr>
        <p:spPr>
          <a:xfrm rot="16200000" flipH="1" flipV="1">
            <a:off x="5202498" y="2921866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E14519B4-CB3A-483A-9A0B-089B6BB03765}"/>
              </a:ext>
            </a:extLst>
          </p:cNvPr>
          <p:cNvSpPr/>
          <p:nvPr/>
        </p:nvSpPr>
        <p:spPr>
          <a:xfrm rot="16200000">
            <a:off x="5721346" y="2931504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D301B1CB-2EF5-4359-B9EF-0EBD3CB78613}"/>
              </a:ext>
            </a:extLst>
          </p:cNvPr>
          <p:cNvSpPr/>
          <p:nvPr/>
        </p:nvSpPr>
        <p:spPr>
          <a:xfrm rot="16200000">
            <a:off x="3148730" y="3417653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205FBE3E-2487-4A5B-B389-E292E152F057}"/>
              </a:ext>
            </a:extLst>
          </p:cNvPr>
          <p:cNvSpPr/>
          <p:nvPr/>
        </p:nvSpPr>
        <p:spPr>
          <a:xfrm rot="16200000">
            <a:off x="3659478" y="3417653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208B6202-91B1-4134-A559-4830F85247DA}"/>
              </a:ext>
            </a:extLst>
          </p:cNvPr>
          <p:cNvSpPr/>
          <p:nvPr/>
        </p:nvSpPr>
        <p:spPr>
          <a:xfrm rot="16200000">
            <a:off x="4172821" y="3417653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3B53360F-125F-4D9A-9D2D-9BB022B02541}"/>
              </a:ext>
            </a:extLst>
          </p:cNvPr>
          <p:cNvSpPr/>
          <p:nvPr/>
        </p:nvSpPr>
        <p:spPr>
          <a:xfrm rot="16200000">
            <a:off x="4686164" y="3417653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36624D9F-E91F-4625-994E-6B37CF4AE568}"/>
              </a:ext>
            </a:extLst>
          </p:cNvPr>
          <p:cNvSpPr/>
          <p:nvPr/>
        </p:nvSpPr>
        <p:spPr>
          <a:xfrm rot="10800000" flipH="1">
            <a:off x="2650795" y="1570042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A04C7371-823F-4465-B553-75F10ACB9916}"/>
              </a:ext>
            </a:extLst>
          </p:cNvPr>
          <p:cNvSpPr/>
          <p:nvPr/>
        </p:nvSpPr>
        <p:spPr>
          <a:xfrm rot="10800000" flipH="1">
            <a:off x="2650795" y="3563267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1E51C5A-3D1E-4E95-9EAC-1AC9FA5E7270}"/>
              </a:ext>
            </a:extLst>
          </p:cNvPr>
          <p:cNvSpPr txBox="1">
            <a:spLocks/>
          </p:cNvSpPr>
          <p:nvPr/>
        </p:nvSpPr>
        <p:spPr>
          <a:xfrm>
            <a:off x="4293288" y="2476743"/>
            <a:ext cx="1758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err="1"/>
              <a:t>z</a:t>
            </a:r>
            <a:r>
              <a:rPr lang="en-US" baseline="-25000" dirty="0" err="1"/>
              <a:t>t</a:t>
            </a:r>
            <a:endParaRPr lang="en-US" baseline="-250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92F45C5-3D38-420F-BBBE-489CB6A36BD6}"/>
              </a:ext>
            </a:extLst>
          </p:cNvPr>
          <p:cNvSpPr txBox="1">
            <a:spLocks/>
          </p:cNvSpPr>
          <p:nvPr/>
        </p:nvSpPr>
        <p:spPr>
          <a:xfrm>
            <a:off x="4719647" y="2476743"/>
            <a:ext cx="175850" cy="1780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o</a:t>
            </a:r>
            <a:r>
              <a:rPr lang="en-US" baseline="-25000" dirty="0"/>
              <a:t>t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FEC1399-10ED-4878-ADCC-A260D04FE8E3}"/>
              </a:ext>
            </a:extLst>
          </p:cNvPr>
          <p:cNvSpPr/>
          <p:nvPr/>
        </p:nvSpPr>
        <p:spPr>
          <a:xfrm>
            <a:off x="2921811" y="1455257"/>
            <a:ext cx="3105514" cy="228896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50C3412-0D7E-498C-95F8-B1D35A07DEFB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2361783" y="1636861"/>
            <a:ext cx="3870813" cy="6723"/>
          </a:xfrm>
          <a:prstGeom prst="line">
            <a:avLst/>
          </a:prstGeom>
          <a:ln w="19050">
            <a:solidFill>
              <a:schemeClr val="accent6"/>
            </a:solidFill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3306A384-54D3-41F2-85C0-A5B5CCA8EDCC}"/>
              </a:ext>
            </a:extLst>
          </p:cNvPr>
          <p:cNvSpPr txBox="1">
            <a:spLocks/>
          </p:cNvSpPr>
          <p:nvPr/>
        </p:nvSpPr>
        <p:spPr>
          <a:xfrm>
            <a:off x="6299115" y="1529138"/>
            <a:ext cx="21277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err="1"/>
              <a:t>c</a:t>
            </a:r>
            <a:r>
              <a:rPr lang="en-US" baseline="-25000" dirty="0" err="1"/>
              <a:t>t</a:t>
            </a:r>
            <a:endParaRPr lang="en-US" baseline="-25000" dirty="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11E12FFA-E056-4D67-A2C9-152CDD4508B8}"/>
              </a:ext>
            </a:extLst>
          </p:cNvPr>
          <p:cNvSpPr/>
          <p:nvPr/>
        </p:nvSpPr>
        <p:spPr>
          <a:xfrm rot="16200000">
            <a:off x="4167165" y="1817969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59E4707C-CB82-4885-88A3-25ACCBDA73E0}"/>
              </a:ext>
            </a:extLst>
          </p:cNvPr>
          <p:cNvSpPr/>
          <p:nvPr/>
        </p:nvSpPr>
        <p:spPr>
          <a:xfrm rot="16200000" flipH="1" flipV="1">
            <a:off x="5202498" y="1817970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94A5D73-D781-468B-BEDB-7024D1301036}"/>
              </a:ext>
            </a:extLst>
          </p:cNvPr>
          <p:cNvSpPr txBox="1">
            <a:spLocks/>
          </p:cNvSpPr>
          <p:nvPr/>
        </p:nvSpPr>
        <p:spPr>
          <a:xfrm>
            <a:off x="849748" y="1421417"/>
            <a:ext cx="90182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dirty="0"/>
              <a:t>Long-term state</a:t>
            </a:r>
            <a:endParaRPr lang="en-US" baseline="-25000" dirty="0"/>
          </a:p>
        </p:txBody>
      </p:sp>
      <p:sp>
        <p:nvSpPr>
          <p:cNvPr id="89" name="DirArrow Triangle">
            <a:extLst>
              <a:ext uri="{FF2B5EF4-FFF2-40B4-BE49-F238E27FC236}">
                <a16:creationId xmlns:a16="http://schemas.microsoft.com/office/drawing/2014/main" id="{F2A03042-AE54-4866-B043-C422C43FA9C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 rot="5400000" flipH="1">
            <a:off x="1781129" y="1591163"/>
            <a:ext cx="222930" cy="1319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1" name="Straight Connector 86">
            <a:extLst>
              <a:ext uri="{FF2B5EF4-FFF2-40B4-BE49-F238E27FC236}">
                <a16:creationId xmlns:a16="http://schemas.microsoft.com/office/drawing/2014/main" id="{4767AD6A-B663-41BC-A63F-63FD575CE457}"/>
              </a:ext>
            </a:extLst>
          </p:cNvPr>
          <p:cNvCxnSpPr>
            <a:cxnSpLocks/>
          </p:cNvCxnSpPr>
          <p:nvPr/>
        </p:nvCxnSpPr>
        <p:spPr>
          <a:xfrm>
            <a:off x="2397663" y="2621564"/>
            <a:ext cx="1593440" cy="101965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B68F18AD-3A59-443E-9809-991C530C6DFA}"/>
              </a:ext>
            </a:extLst>
          </p:cNvPr>
          <p:cNvSpPr txBox="1">
            <a:spLocks/>
          </p:cNvSpPr>
          <p:nvPr/>
        </p:nvSpPr>
        <p:spPr>
          <a:xfrm>
            <a:off x="6839189" y="2599741"/>
            <a:ext cx="62990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Output</a:t>
            </a:r>
            <a:endParaRPr lang="en-US" baseline="-25000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5A9A7BA-4CC1-4AE1-86AE-8DF0FA7CF0CB}"/>
              </a:ext>
            </a:extLst>
          </p:cNvPr>
          <p:cNvSpPr txBox="1">
            <a:spLocks/>
          </p:cNvSpPr>
          <p:nvPr/>
        </p:nvSpPr>
        <p:spPr>
          <a:xfrm>
            <a:off x="1121676" y="2506478"/>
            <a:ext cx="62990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/>
            <a:r>
              <a:rPr lang="en-US" dirty="0"/>
              <a:t>Input</a:t>
            </a:r>
            <a:endParaRPr lang="en-US" baseline="-25000" dirty="0"/>
          </a:p>
        </p:txBody>
      </p:sp>
      <p:sp>
        <p:nvSpPr>
          <p:cNvPr id="96" name="DirArrow Triangle">
            <a:extLst>
              <a:ext uri="{FF2B5EF4-FFF2-40B4-BE49-F238E27FC236}">
                <a16:creationId xmlns:a16="http://schemas.microsoft.com/office/drawing/2014/main" id="{181BB764-94EC-478C-AB60-E703D993CF0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 rot="5400000" flipH="1">
            <a:off x="1781129" y="3524249"/>
            <a:ext cx="222930" cy="1319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Marvintitletrackercircle">
            <a:extLst>
              <a:ext uri="{FF2B5EF4-FFF2-40B4-BE49-F238E27FC236}">
                <a16:creationId xmlns:a16="http://schemas.microsoft.com/office/drawing/2014/main" id="{B1A571D7-9CF7-4D9C-B410-CD9E13D1826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578294" y="3079510"/>
            <a:ext cx="332824" cy="33282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l-GR" sz="1400" dirty="0">
                <a:solidFill>
                  <a:schemeClr val="tx1"/>
                </a:solidFill>
              </a:rPr>
              <a:t>σ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Marvintitletrackercircle">
            <a:extLst>
              <a:ext uri="{FF2B5EF4-FFF2-40B4-BE49-F238E27FC236}">
                <a16:creationId xmlns:a16="http://schemas.microsoft.com/office/drawing/2014/main" id="{819B0581-A317-4DB0-B13D-B7F70274BEB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545258" y="3079510"/>
            <a:ext cx="332824" cy="33282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l-GR" sz="1400" dirty="0">
                <a:solidFill>
                  <a:schemeClr val="tx1"/>
                </a:solidFill>
              </a:rPr>
              <a:t>σ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Marvintitletrackercircle">
            <a:extLst>
              <a:ext uri="{FF2B5EF4-FFF2-40B4-BE49-F238E27FC236}">
                <a16:creationId xmlns:a16="http://schemas.microsoft.com/office/drawing/2014/main" id="{FCB42A75-0405-45C9-B1E1-4E1EF342A9E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040860" y="3079510"/>
            <a:ext cx="332824" cy="33282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l-GR" sz="1400" dirty="0">
                <a:solidFill>
                  <a:schemeClr val="tx1"/>
                </a:solidFill>
              </a:rPr>
              <a:t>σ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Marvintitletrackercircle">
            <a:extLst>
              <a:ext uri="{FF2B5EF4-FFF2-40B4-BE49-F238E27FC236}">
                <a16:creationId xmlns:a16="http://schemas.microsoft.com/office/drawing/2014/main" id="{ADE05857-E4B4-4F96-BC4E-A9D70DAFDA9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058601" y="3079510"/>
            <a:ext cx="332824" cy="33282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l-GR" sz="1400" dirty="0">
                <a:solidFill>
                  <a:schemeClr val="tx1"/>
                </a:solidFill>
              </a:rPr>
              <a:t>τ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CE5743D5-73AA-4550-9EA1-D7DEDB72AA23}"/>
              </a:ext>
            </a:extLst>
          </p:cNvPr>
          <p:cNvSpPr/>
          <p:nvPr/>
        </p:nvSpPr>
        <p:spPr>
          <a:xfrm>
            <a:off x="4058755" y="1489102"/>
            <a:ext cx="310896" cy="30703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dirty="0">
                <a:solidFill>
                  <a:schemeClr val="tx1"/>
                </a:solidFill>
              </a:rPr>
              <a:t>+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64FA477B-C6D0-429E-A595-8C5096DE6C45}"/>
              </a:ext>
            </a:extLst>
          </p:cNvPr>
          <p:cNvSpPr/>
          <p:nvPr/>
        </p:nvSpPr>
        <p:spPr>
          <a:xfrm>
            <a:off x="5093514" y="2547947"/>
            <a:ext cx="310896" cy="30703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>
                <a:solidFill>
                  <a:schemeClr val="tx1"/>
                </a:solidFill>
              </a:rPr>
              <a:t>X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2ACD7C-FC97-4398-929F-61C5EA79E732}"/>
              </a:ext>
            </a:extLst>
          </p:cNvPr>
          <p:cNvSpPr/>
          <p:nvPr/>
        </p:nvSpPr>
        <p:spPr>
          <a:xfrm>
            <a:off x="4059706" y="2217677"/>
            <a:ext cx="310896" cy="30703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>
                <a:solidFill>
                  <a:schemeClr val="tx1"/>
                </a:solidFill>
              </a:rPr>
              <a:t>X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F16E967E-7350-4C94-AFD1-0E609E4F8720}"/>
              </a:ext>
            </a:extLst>
          </p:cNvPr>
          <p:cNvSpPr/>
          <p:nvPr/>
        </p:nvSpPr>
        <p:spPr>
          <a:xfrm>
            <a:off x="3051824" y="1490066"/>
            <a:ext cx="310896" cy="307037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>
                <a:solidFill>
                  <a:schemeClr val="tx1"/>
                </a:solidFill>
              </a:rPr>
              <a:t>X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C3248D3E-25FD-48EE-B997-0C819F6C5D8A}"/>
              </a:ext>
            </a:extLst>
          </p:cNvPr>
          <p:cNvSpPr/>
          <p:nvPr/>
        </p:nvSpPr>
        <p:spPr>
          <a:xfrm rot="10800000" flipH="1">
            <a:off x="2632121" y="2547784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2BA40B0-802A-46C9-8E39-B95ED88EA4C1}"/>
              </a:ext>
            </a:extLst>
          </p:cNvPr>
          <p:cNvSpPr/>
          <p:nvPr/>
        </p:nvSpPr>
        <p:spPr>
          <a:xfrm rot="16200000">
            <a:off x="4170198" y="2715844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2D2356B8-BD07-46A3-8F67-B702BCA55368}"/>
              </a:ext>
            </a:extLst>
          </p:cNvPr>
          <p:cNvSpPr/>
          <p:nvPr/>
        </p:nvSpPr>
        <p:spPr>
          <a:xfrm>
            <a:off x="4825316" y="1562617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523D782C-1124-4DA7-8852-4BD7CA33238B}"/>
              </a:ext>
            </a:extLst>
          </p:cNvPr>
          <p:cNvSpPr txBox="1">
            <a:spLocks/>
          </p:cNvSpPr>
          <p:nvPr/>
        </p:nvSpPr>
        <p:spPr>
          <a:xfrm>
            <a:off x="2032432" y="2482832"/>
            <a:ext cx="22524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err="1"/>
              <a:t>x</a:t>
            </a:r>
            <a:r>
              <a:rPr lang="en-US" baseline="-25000" dirty="0" err="1"/>
              <a:t>t</a:t>
            </a:r>
            <a:endParaRPr lang="en-US" baseline="-25000" dirty="0"/>
          </a:p>
        </p:txBody>
      </p:sp>
      <p:sp>
        <p:nvSpPr>
          <p:cNvPr id="121" name="DirArrow Triangle">
            <a:extLst>
              <a:ext uri="{FF2B5EF4-FFF2-40B4-BE49-F238E27FC236}">
                <a16:creationId xmlns:a16="http://schemas.microsoft.com/office/drawing/2014/main" id="{6DDDA1E8-4C28-4A8C-BB89-24DF48B92F9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 rot="5400000" flipH="1">
            <a:off x="1784910" y="2544488"/>
            <a:ext cx="222930" cy="1319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Straight Connector 60">
            <a:extLst>
              <a:ext uri="{FF2B5EF4-FFF2-40B4-BE49-F238E27FC236}">
                <a16:creationId xmlns:a16="http://schemas.microsoft.com/office/drawing/2014/main" id="{4AF4B268-3BC2-48ED-BBAB-7F2094E4F173}"/>
              </a:ext>
            </a:extLst>
          </p:cNvPr>
          <p:cNvCxnSpPr>
            <a:cxnSpLocks/>
            <a:stCxn id="101" idx="0"/>
            <a:endCxn id="107" idx="2"/>
          </p:cNvCxnSpPr>
          <p:nvPr/>
        </p:nvCxnSpPr>
        <p:spPr>
          <a:xfrm rot="5400000" flipH="1" flipV="1">
            <a:off x="3531531" y="2551335"/>
            <a:ext cx="708314" cy="348036"/>
          </a:xfrm>
          <a:prstGeom prst="bentConnector2">
            <a:avLst/>
          </a:prstGeom>
          <a:ln w="19050">
            <a:solidFill>
              <a:schemeClr val="accent6"/>
            </a:solidFill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B97F412A-9332-4FB7-83E3-F6EE7043CC65}"/>
              </a:ext>
            </a:extLst>
          </p:cNvPr>
          <p:cNvSpPr/>
          <p:nvPr/>
        </p:nvSpPr>
        <p:spPr>
          <a:xfrm>
            <a:off x="4882461" y="2630505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CBF92171-8850-4FCE-8EEA-6878FF660505}"/>
              </a:ext>
            </a:extLst>
          </p:cNvPr>
          <p:cNvSpPr/>
          <p:nvPr/>
        </p:nvSpPr>
        <p:spPr>
          <a:xfrm>
            <a:off x="5598786" y="1570843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51" name="DirArrow Triangle">
            <a:extLst>
              <a:ext uri="{FF2B5EF4-FFF2-40B4-BE49-F238E27FC236}">
                <a16:creationId xmlns:a16="http://schemas.microsoft.com/office/drawing/2014/main" id="{43D518C8-FADC-4D41-AC4A-AC080F5EEF46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 rot="5400000" flipH="1">
            <a:off x="6583746" y="2632307"/>
            <a:ext cx="222930" cy="1319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61611F11-FAA0-4BEB-B99F-6F4D7E80ACCA}"/>
              </a:ext>
            </a:extLst>
          </p:cNvPr>
          <p:cNvSpPr txBox="1">
            <a:spLocks/>
          </p:cNvSpPr>
          <p:nvPr/>
        </p:nvSpPr>
        <p:spPr>
          <a:xfrm>
            <a:off x="6298617" y="2563547"/>
            <a:ext cx="32538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a</a:t>
            </a:r>
            <a:r>
              <a:rPr lang="en-US" baseline="-25000" dirty="0"/>
              <a:t>t+1</a:t>
            </a:r>
          </a:p>
        </p:txBody>
      </p:sp>
      <p:sp>
        <p:nvSpPr>
          <p:cNvPr id="154" name="DirArrow Triangle">
            <a:extLst>
              <a:ext uri="{FF2B5EF4-FFF2-40B4-BE49-F238E27FC236}">
                <a16:creationId xmlns:a16="http://schemas.microsoft.com/office/drawing/2014/main" id="{6E4D5A80-CE54-407D-95A3-A78052797828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 rot="5400000" flipH="1">
            <a:off x="6588423" y="3566791"/>
            <a:ext cx="222930" cy="1319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DirArrow Triangle">
            <a:extLst>
              <a:ext uri="{FF2B5EF4-FFF2-40B4-BE49-F238E27FC236}">
                <a16:creationId xmlns:a16="http://schemas.microsoft.com/office/drawing/2014/main" id="{364335B0-E36E-4D26-944B-45266023BB4E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 rot="5400000" flipH="1">
            <a:off x="6581397" y="1581429"/>
            <a:ext cx="222930" cy="13193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7D50B265-19B2-45D4-954D-23813F2332EB}"/>
              </a:ext>
            </a:extLst>
          </p:cNvPr>
          <p:cNvSpPr/>
          <p:nvPr/>
        </p:nvSpPr>
        <p:spPr>
          <a:xfrm rot="16200000">
            <a:off x="3670448" y="2708186"/>
            <a:ext cx="92928" cy="148486"/>
          </a:xfrm>
          <a:custGeom>
            <a:avLst/>
            <a:gdLst>
              <a:gd name="connsiteX0" fmla="*/ 0 w 156308"/>
              <a:gd name="connsiteY0" fmla="*/ 0 h 226646"/>
              <a:gd name="connsiteX1" fmla="*/ 156308 w 156308"/>
              <a:gd name="connsiteY1" fmla="*/ 132862 h 226646"/>
              <a:gd name="connsiteX2" fmla="*/ 15631 w 156308"/>
              <a:gd name="connsiteY2" fmla="*/ 226646 h 226646"/>
              <a:gd name="connsiteX0" fmla="*/ 0 w 156308"/>
              <a:gd name="connsiteY0" fmla="*/ 0 h 245696"/>
              <a:gd name="connsiteX1" fmla="*/ 156308 w 156308"/>
              <a:gd name="connsiteY1" fmla="*/ 132862 h 245696"/>
              <a:gd name="connsiteX2" fmla="*/ 10868 w 156308"/>
              <a:gd name="connsiteY2" fmla="*/ 245696 h 245696"/>
              <a:gd name="connsiteX0" fmla="*/ 17707 w 174015"/>
              <a:gd name="connsiteY0" fmla="*/ 0 h 259983"/>
              <a:gd name="connsiteX1" fmla="*/ 174015 w 174015"/>
              <a:gd name="connsiteY1" fmla="*/ 132862 h 259983"/>
              <a:gd name="connsiteX2" fmla="*/ 0 w 174015"/>
              <a:gd name="connsiteY2" fmla="*/ 259983 h 259983"/>
              <a:gd name="connsiteX0" fmla="*/ 3419 w 159727"/>
              <a:gd name="connsiteY0" fmla="*/ 0 h 255221"/>
              <a:gd name="connsiteX1" fmla="*/ 159727 w 159727"/>
              <a:gd name="connsiteY1" fmla="*/ 132862 h 255221"/>
              <a:gd name="connsiteX2" fmla="*/ 0 w 159727"/>
              <a:gd name="connsiteY2" fmla="*/ 255221 h 255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9727" h="255221">
                <a:moveTo>
                  <a:pt x="3419" y="0"/>
                </a:moveTo>
                <a:lnTo>
                  <a:pt x="159727" y="132862"/>
                </a:lnTo>
                <a:lnTo>
                  <a:pt x="0" y="255221"/>
                </a:lnTo>
              </a:path>
            </a:pathLst>
          </a:cu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" name="Marvintitletrackercircle">
            <a:extLst>
              <a:ext uri="{FF2B5EF4-FFF2-40B4-BE49-F238E27FC236}">
                <a16:creationId xmlns:a16="http://schemas.microsoft.com/office/drawing/2014/main" id="{FE0920C2-DF55-42E1-B16F-FF9BED08599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89380" y="2991121"/>
            <a:ext cx="155026" cy="155026"/>
          </a:xfrm>
          <a:prstGeom prst="ellipse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B</a:t>
            </a:r>
            <a:endParaRPr lang="en-US" sz="1100" b="1" baseline="-25000" dirty="0">
              <a:solidFill>
                <a:schemeClr val="bg1"/>
              </a:solidFill>
            </a:endParaRPr>
          </a:p>
        </p:txBody>
      </p:sp>
      <p:sp>
        <p:nvSpPr>
          <p:cNvPr id="12" name="Marvintitletrackercircle">
            <a:extLst>
              <a:ext uri="{FF2B5EF4-FFF2-40B4-BE49-F238E27FC236}">
                <a16:creationId xmlns:a16="http://schemas.microsoft.com/office/drawing/2014/main" id="{DDE44917-4456-47F0-B423-6A23D61D767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304503" y="2991121"/>
            <a:ext cx="155026" cy="155026"/>
          </a:xfrm>
          <a:prstGeom prst="ellipse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C</a:t>
            </a:r>
            <a:endParaRPr lang="en-US" sz="1100" b="1" baseline="-25000" dirty="0">
              <a:solidFill>
                <a:schemeClr val="bg1"/>
              </a:solidFill>
            </a:endParaRPr>
          </a:p>
        </p:txBody>
      </p:sp>
      <p:sp>
        <p:nvSpPr>
          <p:cNvPr id="16" name="Marvintitletrackercircle">
            <a:extLst>
              <a:ext uri="{FF2B5EF4-FFF2-40B4-BE49-F238E27FC236}">
                <a16:creationId xmlns:a16="http://schemas.microsoft.com/office/drawing/2014/main" id="{CD1E9E2E-528E-4D33-981F-29DAA395915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4825313" y="2991121"/>
            <a:ext cx="155026" cy="155026"/>
          </a:xfrm>
          <a:prstGeom prst="ellipse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D</a:t>
            </a:r>
            <a:endParaRPr lang="en-US" sz="1100" b="1" baseline="-25000" dirty="0">
              <a:solidFill>
                <a:schemeClr val="bg1"/>
              </a:solidFill>
            </a:endParaRPr>
          </a:p>
        </p:txBody>
      </p:sp>
      <p:sp>
        <p:nvSpPr>
          <p:cNvPr id="94" name="Marvintitletrackercircle">
            <a:extLst>
              <a:ext uri="{FF2B5EF4-FFF2-40B4-BE49-F238E27FC236}">
                <a16:creationId xmlns:a16="http://schemas.microsoft.com/office/drawing/2014/main" id="{C527041F-DD6B-4B37-97AF-2A20E1615936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3281241" y="2991121"/>
            <a:ext cx="155026" cy="155026"/>
          </a:xfrm>
          <a:prstGeom prst="ellipse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A</a:t>
            </a:r>
            <a:endParaRPr lang="en-US" sz="1100" b="1" baseline="-25000" dirty="0">
              <a:solidFill>
                <a:schemeClr val="bg1"/>
              </a:solidFill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9CA6BF74-C81F-4FD5-8C99-4E706DAF01E8}"/>
              </a:ext>
            </a:extLst>
          </p:cNvPr>
          <p:cNvSpPr txBox="1">
            <a:spLocks/>
          </p:cNvSpPr>
          <p:nvPr/>
        </p:nvSpPr>
        <p:spPr>
          <a:xfrm>
            <a:off x="6839189" y="1439231"/>
            <a:ext cx="90182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Long-term state</a:t>
            </a:r>
            <a:endParaRPr lang="en-US" baseline="-25000" dirty="0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8B8C36B8-172F-4211-BBF6-91ABB15490A3}"/>
              </a:ext>
            </a:extLst>
          </p:cNvPr>
          <p:cNvSpPr txBox="1">
            <a:spLocks/>
          </p:cNvSpPr>
          <p:nvPr/>
        </p:nvSpPr>
        <p:spPr>
          <a:xfrm>
            <a:off x="6839189" y="3439012"/>
            <a:ext cx="93399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/>
              <a:t>Short-term state</a:t>
            </a:r>
            <a:endParaRPr lang="en-US" baseline="-25000" dirty="0"/>
          </a:p>
        </p:txBody>
      </p:sp>
    </p:spTree>
    <p:extLst>
      <p:ext uri="{BB962C8B-B14F-4D97-AF65-F5344CB8AC3E}">
        <p14:creationId xmlns:p14="http://schemas.microsoft.com/office/powerpoint/2010/main" val="2630109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ACCENT" val="4"/>
  <p:tag name="LINE" val="2"/>
  <p:tag name="NEWNAMES" val="True"/>
  <p:tag name="ISNEWSLIDENUMBER" val="True"/>
  <p:tag name="PREVIOUSNAME" val="C:\Users\Ivan Valles Perez\Documents\MASTER UNED\TFM\memoria\introduction\images\LSTM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</Words>
  <Application>Microsoft Office PowerPoint</Application>
  <PresentationFormat>Custom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1-14T15:08:39Z</dcterms:created>
  <dcterms:modified xsi:type="dcterms:W3CDTF">2018-01-18T10:07:48Z</dcterms:modified>
  <cp:category/>
  <cp:contentStatus/>
  <dc:language/>
  <cp:version/>
</cp:coreProperties>
</file>